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4" r:id="rId2"/>
  </p:sldIdLst>
  <p:sldSz cx="7556500" cy="10693400"/>
  <p:notesSz cx="6858000" cy="9144000"/>
  <p:embeddedFontLst>
    <p:embeddedFont>
      <p:font typeface="Instrument Serif" pitchFamily="2" charset="0"/>
      <p:regular r:id="rId3"/>
      <p:italic r:id="rId4"/>
    </p:embeddedFont>
    <p:embeddedFont>
      <p:font typeface="Public Sans" pitchFamily="2" charset="0"/>
      <p:regular r:id="rId5"/>
      <p:bold r:id="rId6"/>
      <p:italic r:id="rId7"/>
      <p:boldItalic r:id="rId8"/>
    </p:embeddedFont>
    <p:embeddedFont>
      <p:font typeface="Public Sans Medium" pitchFamily="2" charset="0"/>
      <p:regular r:id="rId9"/>
      <p: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100" d="100"/>
          <a:sy n="100" d="100"/>
        </p:scale>
        <p:origin x="1445" y="-1579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oup 80">
            <a:extLst>
              <a:ext uri="{FF2B5EF4-FFF2-40B4-BE49-F238E27FC236}">
                <a16:creationId xmlns:a16="http://schemas.microsoft.com/office/drawing/2014/main" id="{C7F2042E-1808-8F3D-B2C8-BA402B134634}"/>
              </a:ext>
            </a:extLst>
          </p:cNvPr>
          <p:cNvGrpSpPr/>
          <p:nvPr/>
        </p:nvGrpSpPr>
        <p:grpSpPr>
          <a:xfrm>
            <a:off x="412665" y="38195"/>
            <a:ext cx="6625974" cy="10446363"/>
            <a:chOff x="412665" y="38195"/>
            <a:chExt cx="6625974" cy="10446363"/>
          </a:xfrm>
        </p:grpSpPr>
        <p:sp>
          <p:nvSpPr>
            <p:cNvPr id="8" name="TextBox 8"/>
            <p:cNvSpPr txBox="1"/>
            <p:nvPr/>
          </p:nvSpPr>
          <p:spPr>
            <a:xfrm>
              <a:off x="412665" y="38195"/>
              <a:ext cx="4556982" cy="184864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5107"/>
                </a:lnSpc>
              </a:pPr>
              <a:r>
                <a:rPr lang="en-US" sz="10800" spc="-53" dirty="0">
                  <a:solidFill>
                    <a:srgbClr val="FF5D00"/>
                  </a:solidFill>
                  <a:latin typeface="Instrument Serif"/>
                </a:rPr>
                <a:t>Bake Sale</a:t>
              </a:r>
            </a:p>
          </p:txBody>
        </p:sp>
        <p:sp>
          <p:nvSpPr>
            <p:cNvPr id="9" name="Freeform 9"/>
            <p:cNvSpPr/>
            <p:nvPr/>
          </p:nvSpPr>
          <p:spPr>
            <a:xfrm>
              <a:off x="1780679" y="1956127"/>
              <a:ext cx="379506" cy="338795"/>
            </a:xfrm>
            <a:custGeom>
              <a:avLst/>
              <a:gdLst/>
              <a:ahLst/>
              <a:cxnLst/>
              <a:rect l="l" t="t" r="r" b="b"/>
              <a:pathLst>
                <a:path w="379506" h="338795">
                  <a:moveTo>
                    <a:pt x="0" y="0"/>
                  </a:moveTo>
                  <a:lnTo>
                    <a:pt x="379506" y="0"/>
                  </a:lnTo>
                  <a:lnTo>
                    <a:pt x="379506" y="338796"/>
                  </a:lnTo>
                  <a:lnTo>
                    <a:pt x="0" y="3387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TextBox 42"/>
            <p:cNvSpPr txBox="1"/>
            <p:nvPr/>
          </p:nvSpPr>
          <p:spPr>
            <a:xfrm>
              <a:off x="3792657" y="1599494"/>
              <a:ext cx="3245982" cy="89293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lvl="0" indent="0" algn="r">
                <a:lnSpc>
                  <a:spcPts val="7257"/>
                </a:lnSpc>
                <a:spcBef>
                  <a:spcPct val="0"/>
                </a:spcBef>
              </a:pPr>
              <a:r>
                <a:rPr lang="en-US" sz="5200" u="none" strike="noStrike" dirty="0">
                  <a:solidFill>
                    <a:srgbClr val="FF5D00"/>
                  </a:solidFill>
                  <a:latin typeface="Instrument Serif"/>
                </a:rPr>
                <a:t>Sign up Sheet</a:t>
              </a: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AC97C609-658D-F663-E00F-0C3C956F231E}"/>
                </a:ext>
              </a:extLst>
            </p:cNvPr>
            <p:cNvGrpSpPr/>
            <p:nvPr/>
          </p:nvGrpSpPr>
          <p:grpSpPr>
            <a:xfrm>
              <a:off x="5210222" y="862343"/>
              <a:ext cx="1788056" cy="657200"/>
              <a:chOff x="5210222" y="862343"/>
              <a:chExt cx="1788056" cy="657200"/>
            </a:xfrm>
          </p:grpSpPr>
          <p:sp>
            <p:nvSpPr>
              <p:cNvPr id="3" name="Freeform 3"/>
              <p:cNvSpPr/>
              <p:nvPr/>
            </p:nvSpPr>
            <p:spPr>
              <a:xfrm rot="20711188">
                <a:off x="5210222" y="862343"/>
                <a:ext cx="1768232" cy="657200"/>
              </a:xfrm>
              <a:custGeom>
                <a:avLst/>
                <a:gdLst/>
                <a:ahLst/>
                <a:cxnLst/>
                <a:rect l="l" t="t" r="r" b="b"/>
                <a:pathLst>
                  <a:path w="858651" h="319135">
                    <a:moveTo>
                      <a:pt x="429325" y="0"/>
                    </a:moveTo>
                    <a:cubicBezTo>
                      <a:pt x="192216" y="0"/>
                      <a:pt x="0" y="71441"/>
                      <a:pt x="0" y="159568"/>
                    </a:cubicBezTo>
                    <a:cubicBezTo>
                      <a:pt x="0" y="247694"/>
                      <a:pt x="192216" y="319135"/>
                      <a:pt x="429325" y="319135"/>
                    </a:cubicBezTo>
                    <a:cubicBezTo>
                      <a:pt x="666435" y="319135"/>
                      <a:pt x="858651" y="247694"/>
                      <a:pt x="858651" y="159568"/>
                    </a:cubicBezTo>
                    <a:cubicBezTo>
                      <a:pt x="858651" y="71441"/>
                      <a:pt x="666435" y="0"/>
                      <a:pt x="429325" y="0"/>
                    </a:cubicBezTo>
                    <a:lnTo>
                      <a:pt x="429325" y="0"/>
                    </a:ln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9525" cap="rnd">
                <a:solidFill>
                  <a:srgbClr val="FF5D00">
                    <a:alpha val="44706"/>
                  </a:srgbClr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" name="Freeform 6"/>
              <p:cNvSpPr/>
              <p:nvPr/>
            </p:nvSpPr>
            <p:spPr>
              <a:xfrm>
                <a:off x="5230046" y="862343"/>
                <a:ext cx="1768232" cy="657200"/>
              </a:xfrm>
              <a:custGeom>
                <a:avLst/>
                <a:gdLst/>
                <a:ahLst/>
                <a:cxnLst/>
                <a:rect l="l" t="t" r="r" b="b"/>
                <a:pathLst>
                  <a:path w="858651" h="319135">
                    <a:moveTo>
                      <a:pt x="429325" y="0"/>
                    </a:moveTo>
                    <a:cubicBezTo>
                      <a:pt x="192216" y="0"/>
                      <a:pt x="0" y="71441"/>
                      <a:pt x="0" y="159568"/>
                    </a:cubicBezTo>
                    <a:cubicBezTo>
                      <a:pt x="0" y="247694"/>
                      <a:pt x="192216" y="319135"/>
                      <a:pt x="429325" y="319135"/>
                    </a:cubicBezTo>
                    <a:cubicBezTo>
                      <a:pt x="666435" y="319135"/>
                      <a:pt x="858651" y="247694"/>
                      <a:pt x="858651" y="159568"/>
                    </a:cubicBezTo>
                    <a:cubicBezTo>
                      <a:pt x="858651" y="71441"/>
                      <a:pt x="666435" y="0"/>
                      <a:pt x="429325" y="0"/>
                    </a:cubicBezTo>
                    <a:lnTo>
                      <a:pt x="429325" y="0"/>
                    </a:lnTo>
                    <a:close/>
                  </a:path>
                </a:pathLst>
              </a:custGeom>
              <a:solidFill>
                <a:srgbClr val="F6F6F6"/>
              </a:solidFill>
              <a:ln w="9525" cap="rnd">
                <a:solidFill>
                  <a:srgbClr val="FF5D00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TextBox 43"/>
              <p:cNvSpPr txBox="1"/>
              <p:nvPr/>
            </p:nvSpPr>
            <p:spPr>
              <a:xfrm>
                <a:off x="5451286" y="1012872"/>
                <a:ext cx="1325752" cy="21595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830"/>
                  </a:lnSpc>
                </a:pPr>
                <a:r>
                  <a:rPr lang="en-US" sz="1453" b="1" dirty="0">
                    <a:solidFill>
                      <a:srgbClr val="FF5D00"/>
                    </a:solidFill>
                    <a:latin typeface="Public Sans Medium" pitchFamily="2" charset="0"/>
                  </a:rPr>
                  <a:t>MAY 27, 2024</a:t>
                </a:r>
              </a:p>
            </p:txBody>
          </p:sp>
          <p:sp>
            <p:nvSpPr>
              <p:cNvPr id="44" name="TextBox 44"/>
              <p:cNvSpPr txBox="1"/>
              <p:nvPr/>
            </p:nvSpPr>
            <p:spPr>
              <a:xfrm>
                <a:off x="5636332" y="1230399"/>
                <a:ext cx="955660" cy="11977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20"/>
                  </a:lnSpc>
                </a:pPr>
                <a:r>
                  <a:rPr lang="en-US" sz="800" spc="21" dirty="0">
                    <a:solidFill>
                      <a:srgbClr val="FF5D00"/>
                    </a:solidFill>
                    <a:latin typeface="Public Sans Medium"/>
                  </a:rPr>
                  <a:t>9:00 am - 10:00 pm</a:t>
                </a:r>
              </a:p>
            </p:txBody>
          </p:sp>
        </p:grpSp>
        <p:sp>
          <p:nvSpPr>
            <p:cNvPr id="45" name="TextBox 45"/>
            <p:cNvSpPr txBox="1"/>
            <p:nvPr/>
          </p:nvSpPr>
          <p:spPr>
            <a:xfrm>
              <a:off x="2274538" y="1946493"/>
              <a:ext cx="1663404" cy="37183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 algn="l">
                <a:lnSpc>
                  <a:spcPts val="955"/>
                </a:lnSpc>
              </a:pPr>
              <a:r>
                <a:rPr lang="en-US" sz="700" spc="36" dirty="0">
                  <a:solidFill>
                    <a:srgbClr val="FF5D00"/>
                  </a:solidFill>
                  <a:latin typeface="Public Sans Medium"/>
                </a:rPr>
                <a:t>LOCATION</a:t>
              </a:r>
              <a:r>
                <a:rPr lang="en-US" sz="700" u="none" strike="noStrike" spc="36" dirty="0">
                  <a:solidFill>
                    <a:srgbClr val="FF5D00"/>
                  </a:solidFill>
                  <a:latin typeface="Public Sans Medium"/>
                </a:rPr>
                <a:t>: PANDAN BAKERY - </a:t>
              </a:r>
            </a:p>
            <a:p>
              <a:pPr marL="0" lvl="0" indent="0" algn="l">
                <a:lnSpc>
                  <a:spcPts val="955"/>
                </a:lnSpc>
              </a:pPr>
              <a:r>
                <a:rPr lang="en-US" sz="700" u="none" strike="noStrike" spc="36" dirty="0">
                  <a:solidFill>
                    <a:srgbClr val="FF5D00"/>
                  </a:solidFill>
                  <a:latin typeface="Public Sans Medium"/>
                </a:rPr>
                <a:t>43 EXMOUTH MARKET, LONDON W1U 4PD, UNITED KINGDOM</a:t>
              </a:r>
            </a:p>
          </p:txBody>
        </p:sp>
        <p:sp>
          <p:nvSpPr>
            <p:cNvPr id="41" name="QuickSignup"/>
            <p:cNvSpPr/>
            <p:nvPr/>
          </p:nvSpPr>
          <p:spPr>
            <a:xfrm>
              <a:off x="442558" y="10351345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alphaModFix amt="70000"/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81A7827F-3AB3-9F62-2F76-AD5CB6CAB4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7991142"/>
              </p:ext>
            </p:extLst>
          </p:nvPr>
        </p:nvGraphicFramePr>
        <p:xfrm>
          <a:off x="439058" y="2882464"/>
          <a:ext cx="6674885" cy="73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5592">
                  <a:extLst>
                    <a:ext uri="{9D8B030D-6E8A-4147-A177-3AD203B41FA5}">
                      <a16:colId xmlns:a16="http://schemas.microsoft.com/office/drawing/2014/main" val="1266731724"/>
                    </a:ext>
                  </a:extLst>
                </a:gridCol>
                <a:gridCol w="1187450">
                  <a:extLst>
                    <a:ext uri="{9D8B030D-6E8A-4147-A177-3AD203B41FA5}">
                      <a16:colId xmlns:a16="http://schemas.microsoft.com/office/drawing/2014/main" val="939354687"/>
                    </a:ext>
                  </a:extLst>
                </a:gridCol>
                <a:gridCol w="1739900">
                  <a:extLst>
                    <a:ext uri="{9D8B030D-6E8A-4147-A177-3AD203B41FA5}">
                      <a16:colId xmlns:a16="http://schemas.microsoft.com/office/drawing/2014/main" val="1351361299"/>
                    </a:ext>
                  </a:extLst>
                </a:gridCol>
                <a:gridCol w="939800">
                  <a:extLst>
                    <a:ext uri="{9D8B030D-6E8A-4147-A177-3AD203B41FA5}">
                      <a16:colId xmlns:a16="http://schemas.microsoft.com/office/drawing/2014/main" val="335274534"/>
                    </a:ext>
                  </a:extLst>
                </a:gridCol>
                <a:gridCol w="1602143">
                  <a:extLst>
                    <a:ext uri="{9D8B030D-6E8A-4147-A177-3AD203B41FA5}">
                      <a16:colId xmlns:a16="http://schemas.microsoft.com/office/drawing/2014/main" val="2899603786"/>
                    </a:ext>
                  </a:extLst>
                </a:gridCol>
              </a:tblGrid>
              <a:tr h="410000">
                <a:tc>
                  <a:txBody>
                    <a:bodyPr/>
                    <a:lstStyle/>
                    <a:p>
                      <a:pPr algn="ctr">
                        <a:lnSpc>
                          <a:spcPts val="750"/>
                        </a:lnSpc>
                      </a:pPr>
                      <a:r>
                        <a:rPr lang="en-US" sz="700" b="1" spc="60" dirty="0">
                          <a:solidFill>
                            <a:srgbClr val="FF5D00"/>
                          </a:solidFill>
                          <a:latin typeface="Public Sans" pitchFamily="2" charset="0"/>
                        </a:rPr>
                        <a:t>NAME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spc="60" dirty="0">
                          <a:solidFill>
                            <a:srgbClr val="FF5D00"/>
                          </a:solidFill>
                          <a:latin typeface="Public Sans" pitchFamily="2" charset="0"/>
                        </a:rPr>
                        <a:t>PHONE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spc="60" dirty="0">
                          <a:solidFill>
                            <a:srgbClr val="FF5D00"/>
                          </a:solidFill>
                          <a:latin typeface="Public Sans" pitchFamily="2" charset="0"/>
                        </a:rPr>
                        <a:t>BAKED GOODS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50"/>
                        </a:lnSpc>
                      </a:pPr>
                      <a:r>
                        <a:rPr lang="en-US" sz="700" b="1" spc="60" dirty="0">
                          <a:solidFill>
                            <a:srgbClr val="FF5D00"/>
                          </a:solidFill>
                          <a:latin typeface="Public Sans" pitchFamily="2" charset="0"/>
                        </a:rPr>
                        <a:t>QUANTITY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spc="60" dirty="0">
                          <a:solidFill>
                            <a:srgbClr val="FF5D00"/>
                          </a:solidFill>
                          <a:latin typeface="Public Sans" pitchFamily="2" charset="0"/>
                        </a:rPr>
                        <a:t>DIETARY RESTRICTIONS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95532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924573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505269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772729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0830087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4538858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614564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1808761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170365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557741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427187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290269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4403055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787602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9296885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413179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6263695"/>
                  </a:ext>
                </a:extLst>
              </a:tr>
              <a:tr h="410000"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ublic Sans" pitchFamily="2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5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185851"/>
                  </a:ext>
                </a:extLst>
              </a:tr>
            </a:tbl>
          </a:graphicData>
        </a:graphic>
      </p:graphicFrame>
      <p:sp>
        <p:nvSpPr>
          <p:cNvPr id="5" name="Image">
            <a:extLst>
              <a:ext uri="{FF2B5EF4-FFF2-40B4-BE49-F238E27FC236}">
                <a16:creationId xmlns:a16="http://schemas.microsoft.com/office/drawing/2014/main" id="{5B199184-3021-D9D4-5100-97DF6E9CF622}"/>
              </a:ext>
            </a:extLst>
          </p:cNvPr>
          <p:cNvSpPr/>
          <p:nvPr/>
        </p:nvSpPr>
        <p:spPr>
          <a:xfrm rot="19029053" flipH="1">
            <a:off x="-465967" y="1590076"/>
            <a:ext cx="2234340" cy="2008114"/>
          </a:xfrm>
          <a:custGeom>
            <a:avLst/>
            <a:gdLst>
              <a:gd name="connsiteX0" fmla="*/ 1937007 w 2234340"/>
              <a:gd name="connsiteY0" fmla="*/ 0 h 2008114"/>
              <a:gd name="connsiteX1" fmla="*/ 2234340 w 2234340"/>
              <a:gd name="connsiteY1" fmla="*/ 320539 h 2008114"/>
              <a:gd name="connsiteX2" fmla="*/ 2234340 w 2234340"/>
              <a:gd name="connsiteY2" fmla="*/ 0 h 2008114"/>
              <a:gd name="connsiteX3" fmla="*/ 0 w 2234340"/>
              <a:gd name="connsiteY3" fmla="*/ 0 h 2008114"/>
              <a:gd name="connsiteX4" fmla="*/ 0 w 2234340"/>
              <a:gd name="connsiteY4" fmla="*/ 2008114 h 2008114"/>
              <a:gd name="connsiteX5" fmla="*/ 2234340 w 2234340"/>
              <a:gd name="connsiteY5" fmla="*/ 2008114 h 2008114"/>
              <a:gd name="connsiteX6" fmla="*/ 2234340 w 2234340"/>
              <a:gd name="connsiteY6" fmla="*/ 937400 h 2008114"/>
              <a:gd name="connsiteX7" fmla="*/ 2078049 w 2234340"/>
              <a:gd name="connsiteY7" fmla="*/ 1082376 h 2008114"/>
              <a:gd name="connsiteX8" fmla="*/ 1238218 w 2234340"/>
              <a:gd name="connsiteY8" fmla="*/ 176999 h 2008114"/>
              <a:gd name="connsiteX9" fmla="*/ 1429031 w 2234340"/>
              <a:gd name="connsiteY9" fmla="*/ 0 h 2008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34340" h="2008114">
                <a:moveTo>
                  <a:pt x="1937007" y="0"/>
                </a:moveTo>
                <a:lnTo>
                  <a:pt x="2234340" y="320539"/>
                </a:lnTo>
                <a:lnTo>
                  <a:pt x="2234340" y="0"/>
                </a:lnTo>
                <a:close/>
                <a:moveTo>
                  <a:pt x="0" y="0"/>
                </a:moveTo>
                <a:lnTo>
                  <a:pt x="0" y="2008114"/>
                </a:lnTo>
                <a:lnTo>
                  <a:pt x="2234340" y="2008114"/>
                </a:lnTo>
                <a:lnTo>
                  <a:pt x="2234340" y="937400"/>
                </a:lnTo>
                <a:lnTo>
                  <a:pt x="2078049" y="1082376"/>
                </a:lnTo>
                <a:lnTo>
                  <a:pt x="1238218" y="176999"/>
                </a:lnTo>
                <a:lnTo>
                  <a:pt x="1429031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109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36</Words>
  <Application>Microsoft Office PowerPoint</Application>
  <PresentationFormat>Custom</PresentationFormat>
  <Paragraphs>1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Public Sans</vt:lpstr>
      <vt:lpstr>Calibri</vt:lpstr>
      <vt:lpstr>Arial</vt:lpstr>
      <vt:lpstr>Instrument Serif</vt:lpstr>
      <vt:lpstr>Public Sans Medium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Audition, Bake Sales, Chair Massage sign up sheets (Portrait)</dc:title>
  <dc:creator>Computer</dc:creator>
  <cp:lastModifiedBy>Thao Thanh</cp:lastModifiedBy>
  <cp:revision>11</cp:revision>
  <dcterms:created xsi:type="dcterms:W3CDTF">2006-08-16T00:00:00Z</dcterms:created>
  <dcterms:modified xsi:type="dcterms:W3CDTF">2024-05-30T01:13:21Z</dcterms:modified>
  <dc:identifier>DAGGkwe0V9o</dc:identifier>
</cp:coreProperties>
</file>